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</p:sldMasterIdLst>
  <p:notesMasterIdLst>
    <p:notesMasterId r:id="rId10"/>
  </p:notesMasterIdLst>
  <p:handoutMasterIdLst>
    <p:handoutMasterId r:id="rId11"/>
  </p:handoutMasterIdLst>
  <p:sldIdLst>
    <p:sldId id="259" r:id="rId2"/>
    <p:sldId id="261" r:id="rId3"/>
    <p:sldId id="262" r:id="rId4"/>
    <p:sldId id="260" r:id="rId5"/>
    <p:sldId id="263" r:id="rId6"/>
    <p:sldId id="264" r:id="rId7"/>
    <p:sldId id="266" r:id="rId8"/>
    <p:sldId id="265" r:id="rId9"/>
  </p:sldIdLst>
  <p:sldSz cx="12192000" cy="6858000"/>
  <p:notesSz cx="6950075" cy="9236075"/>
  <p:custShowLst>
    <p:custShow name="Format Guide Workshop" id="0">
      <p:sldLst/>
    </p:custShow>
  </p:custShowLst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4592"/>
    <a:srgbClr val="ADADAD"/>
    <a:srgbClr val="28802A"/>
    <a:srgbClr val="EDAE1D"/>
    <a:srgbClr val="9B2525"/>
    <a:srgbClr val="051934"/>
    <a:srgbClr val="193265"/>
    <a:srgbClr val="204184"/>
    <a:srgbClr val="83A2E1"/>
    <a:srgbClr val="396B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32" autoAdjust="0"/>
    <p:restoredTop sz="96323" autoAdjust="0"/>
  </p:normalViewPr>
  <p:slideViewPr>
    <p:cSldViewPr snapToGrid="0">
      <p:cViewPr varScale="1">
        <p:scale>
          <a:sx n="86" d="100"/>
          <a:sy n="86" d="100"/>
        </p:scale>
        <p:origin x="538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9/10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9/10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9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63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45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4184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69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2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237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49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88478" y="1544274"/>
            <a:ext cx="3793922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44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70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90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4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7572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73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8299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2222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4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868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46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804650"/>
            <a:ext cx="658907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983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7"/>
          <a:stretch/>
        </p:blipFill>
        <p:spPr>
          <a:xfrm>
            <a:off x="-1" y="507851"/>
            <a:ext cx="4206363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0" y="649895"/>
            <a:ext cx="4206362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3C75AE-9566-4E3B-8ABC-6E24FB4BE25B}"/>
              </a:ext>
            </a:extLst>
          </p:cNvPr>
          <p:cNvGrpSpPr/>
          <p:nvPr userDrawn="1"/>
        </p:nvGrpSpPr>
        <p:grpSpPr>
          <a:xfrm>
            <a:off x="3724275" y="1070092"/>
            <a:ext cx="8544665" cy="97898"/>
            <a:chOff x="3724275" y="1070092"/>
            <a:chExt cx="8544665" cy="9789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00978" y="682294"/>
            <a:ext cx="7402544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01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15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77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67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509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911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0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2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68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00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5015168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3085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30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5015168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76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378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427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62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6598322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220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2923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17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7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44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506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9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11615045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905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567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760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144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2920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8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455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2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5027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30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801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4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>
              <a:solidFill>
                <a:srgbClr val="051934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1934"/>
            </a:solidFill>
            <a:ln>
              <a:solidFill>
                <a:srgbClr val="0519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1389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64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88478" y="2158987"/>
            <a:ext cx="408552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1227048"/>
            <a:ext cx="408552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83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47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354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0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556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56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618051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146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919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7" y="721619"/>
            <a:ext cx="8443106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6722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01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846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37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7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74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65900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874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482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03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2B21D19-2C3D-44F2-BD7B-B357A1D0C7A4}"/>
              </a:ext>
            </a:extLst>
          </p:cNvPr>
          <p:cNvSpPr/>
          <p:nvPr userDrawn="1"/>
        </p:nvSpPr>
        <p:spPr>
          <a:xfrm>
            <a:off x="283028" y="5268686"/>
            <a:ext cx="1445051" cy="144505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"/>
          <a:stretch/>
        </p:blipFill>
        <p:spPr>
          <a:xfrm>
            <a:off x="154656" y="5156581"/>
            <a:ext cx="1680063" cy="170141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32262-43E3-4A07-82F9-44A3C389201E}"/>
              </a:ext>
            </a:extLst>
          </p:cNvPr>
          <p:cNvCxnSpPr>
            <a:cxnSpLocks/>
          </p:cNvCxnSpPr>
          <p:nvPr/>
        </p:nvCxnSpPr>
        <p:spPr>
          <a:xfrm>
            <a:off x="1059732" y="1118586"/>
            <a:ext cx="11001639" cy="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23" name="Rectangle 11">
            <a:extLst>
              <a:ext uri="{FF2B5EF4-FFF2-40B4-BE49-F238E27FC236}">
                <a16:creationId xmlns:a16="http://schemas.microsoft.com/office/drawing/2014/main" id="{5065A4B8-5F15-4D02-9448-AB93774FE071}"/>
              </a:ext>
            </a:extLst>
          </p:cNvPr>
          <p:cNvSpPr/>
          <p:nvPr/>
        </p:nvSpPr>
        <p:spPr>
          <a:xfrm>
            <a:off x="675934" y="1070092"/>
            <a:ext cx="343489" cy="96987"/>
          </a:xfrm>
          <a:custGeom>
            <a:avLst/>
            <a:gdLst>
              <a:gd name="connsiteX0" fmla="*/ 0 w 328474"/>
              <a:gd name="connsiteY0" fmla="*/ 0 h 115400"/>
              <a:gd name="connsiteX1" fmla="*/ 328474 w 328474"/>
              <a:gd name="connsiteY1" fmla="*/ 0 h 115400"/>
              <a:gd name="connsiteX2" fmla="*/ 328474 w 328474"/>
              <a:gd name="connsiteY2" fmla="*/ 115400 h 115400"/>
              <a:gd name="connsiteX3" fmla="*/ 0 w 328474"/>
              <a:gd name="connsiteY3" fmla="*/ 115400 h 115400"/>
              <a:gd name="connsiteX4" fmla="*/ 0 w 328474"/>
              <a:gd name="connsiteY4" fmla="*/ 0 h 115400"/>
              <a:gd name="connsiteX0" fmla="*/ 0 w 351549"/>
              <a:gd name="connsiteY0" fmla="*/ 0 h 115400"/>
              <a:gd name="connsiteX1" fmla="*/ 328474 w 351549"/>
              <a:gd name="connsiteY1" fmla="*/ 0 h 115400"/>
              <a:gd name="connsiteX2" fmla="*/ 351549 w 351549"/>
              <a:gd name="connsiteY2" fmla="*/ 56723 h 115400"/>
              <a:gd name="connsiteX3" fmla="*/ 328474 w 351549"/>
              <a:gd name="connsiteY3" fmla="*/ 115400 h 115400"/>
              <a:gd name="connsiteX4" fmla="*/ 0 w 351549"/>
              <a:gd name="connsiteY4" fmla="*/ 115400 h 115400"/>
              <a:gd name="connsiteX5" fmla="*/ 0 w 35154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0 w 40869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699" h="115400">
                <a:moveTo>
                  <a:pt x="0" y="0"/>
                </a:moveTo>
                <a:lnTo>
                  <a:pt x="328474" y="0"/>
                </a:lnTo>
                <a:cubicBezTo>
                  <a:pt x="347110" y="14394"/>
                  <a:pt x="388175" y="47300"/>
                  <a:pt x="408699" y="62166"/>
                </a:cubicBezTo>
                <a:lnTo>
                  <a:pt x="328474" y="115400"/>
                </a:lnTo>
                <a:lnTo>
                  <a:pt x="0" y="115400"/>
                </a:lnTo>
                <a:cubicBezTo>
                  <a:pt x="32428" y="93820"/>
                  <a:pt x="67009" y="71297"/>
                  <a:pt x="97549" y="54909"/>
                </a:cubicBez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 w="12700" cap="flat" cmpd="sng" algn="ctr">
            <a:solidFill>
              <a:srgbClr val="EDAE1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8E9294F-BB5D-46ED-B464-54CBD1CF8C8D}"/>
              </a:ext>
            </a:extLst>
          </p:cNvPr>
          <p:cNvCxnSpPr/>
          <p:nvPr/>
        </p:nvCxnSpPr>
        <p:spPr>
          <a:xfrm flipH="1">
            <a:off x="283028" y="1070092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0A5D17E-15DF-4C7D-8634-463BF7667DBC}"/>
              </a:ext>
            </a:extLst>
          </p:cNvPr>
          <p:cNvCxnSpPr/>
          <p:nvPr/>
        </p:nvCxnSpPr>
        <p:spPr>
          <a:xfrm flipH="1">
            <a:off x="333034" y="1122066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801302-3D6B-4CBE-AB1F-66B2163E9DE9}"/>
              </a:ext>
            </a:extLst>
          </p:cNvPr>
          <p:cNvCxnSpPr/>
          <p:nvPr/>
        </p:nvCxnSpPr>
        <p:spPr>
          <a:xfrm flipH="1">
            <a:off x="283028" y="1167990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1059732" y="682294"/>
            <a:ext cx="1084379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363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03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067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00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82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9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597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486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724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09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33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41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869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3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087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08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9836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01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>
            <a:off x="1963091" y="1070092"/>
            <a:ext cx="11778343" cy="97898"/>
            <a:chOff x="283028" y="1070092"/>
            <a:chExt cx="11778343" cy="9789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739795" y="682294"/>
            <a:ext cx="9163727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425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637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2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939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561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478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83886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24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58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5466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26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017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78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52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 rot="5400000">
            <a:off x="-3773681" y="6033979"/>
            <a:ext cx="11778343" cy="97898"/>
            <a:chOff x="283028" y="1070092"/>
            <a:chExt cx="11778343" cy="978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44477" y="590132"/>
            <a:ext cx="9228229" cy="584775"/>
          </a:xfrm>
        </p:spPr>
        <p:txBody>
          <a:bodyPr lIns="91440" tIns="45720" rIns="91440" bIns="45720"/>
          <a:lstStyle>
            <a:lvl1pPr marL="0" algn="l" defTabSz="914400" rtl="0" eaLnBrk="1" latinLnBrk="0" hangingPunct="1"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8642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081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7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394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0777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79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789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98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8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25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05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520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94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211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BD0CCF64-679E-4CB8-8048-AF2370333156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8">
            <a:extLst>
              <a:ext uri="{FF2B5EF4-FFF2-40B4-BE49-F238E27FC236}">
                <a16:creationId xmlns:a16="http://schemas.microsoft.com/office/drawing/2014/main" id="{28C2FB08-5927-4322-9E4D-942431372235}"/>
              </a:ext>
            </a:extLst>
          </p:cNvPr>
          <p:cNvSpPr/>
          <p:nvPr userDrawn="1"/>
        </p:nvSpPr>
        <p:spPr>
          <a:xfrm>
            <a:off x="6670551" y="5850386"/>
            <a:ext cx="5521449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289412" y="682294"/>
            <a:ext cx="1061411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1589" y="1070092"/>
            <a:ext cx="11869783" cy="97898"/>
            <a:chOff x="191589" y="1070092"/>
            <a:chExt cx="11869783" cy="97898"/>
          </a:xfrm>
        </p:grpSpPr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3BEE02AA-3F87-4005-8099-FBC9718DDD55}"/>
                </a:ext>
              </a:extLst>
            </p:cNvPr>
            <p:cNvSpPr/>
            <p:nvPr/>
          </p:nvSpPr>
          <p:spPr>
            <a:xfrm>
              <a:off x="746937" y="1070092"/>
              <a:ext cx="485500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DC11E594-9CD6-4AA3-963B-7D63B33A4A51}"/>
                </a:ext>
              </a:extLst>
            </p:cNvPr>
            <p:cNvCxnSpPr/>
            <p:nvPr/>
          </p:nvCxnSpPr>
          <p:spPr>
            <a:xfrm flipH="1">
              <a:off x="191589" y="1070092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58C44-C5E8-4F2A-8768-7B02C6FA32F7}"/>
                </a:ext>
              </a:extLst>
            </p:cNvPr>
            <p:cNvCxnSpPr/>
            <p:nvPr/>
          </p:nvCxnSpPr>
          <p:spPr>
            <a:xfrm flipH="1">
              <a:off x="262269" y="1122066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A15D2565-0252-40A1-9AF8-9A87442F6F08}"/>
                </a:ext>
              </a:extLst>
            </p:cNvPr>
            <p:cNvCxnSpPr/>
            <p:nvPr/>
          </p:nvCxnSpPr>
          <p:spPr>
            <a:xfrm flipH="1">
              <a:off x="191589" y="1167990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89412" y="1118586"/>
              <a:ext cx="10771960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5390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8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058257" y="644194"/>
            <a:ext cx="10845265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542512-36EF-412B-B089-57D5D6F17427}"/>
              </a:ext>
            </a:extLst>
          </p:cNvPr>
          <p:cNvGrpSpPr/>
          <p:nvPr userDrawn="1"/>
        </p:nvGrpSpPr>
        <p:grpSpPr>
          <a:xfrm>
            <a:off x="281553" y="998742"/>
            <a:ext cx="11778343" cy="97898"/>
            <a:chOff x="283028" y="1070092"/>
            <a:chExt cx="11778343" cy="9789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CB2A574-04D4-4196-9FFB-2730EAB1308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B3F89F9-A56C-4B93-916D-17D734A8A350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42FA8D-39D5-4A0E-B424-B6C5CF82D2AB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0FFE91A-B89F-4F15-B45A-2DDB75C8CD66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43F1C8E-2570-41A9-A43D-120A0A2FE922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85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2282681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75247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259" r:id="rId8"/>
    <p:sldLayoutId id="2147485260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15" r:id="rId32"/>
    <p:sldLayoutId id="2147485216" r:id="rId33"/>
    <p:sldLayoutId id="2147485217" r:id="rId34"/>
    <p:sldLayoutId id="2147485218" r:id="rId35"/>
    <p:sldLayoutId id="2147485219" r:id="rId36"/>
    <p:sldLayoutId id="2147485220" r:id="rId37"/>
    <p:sldLayoutId id="2147485221" r:id="rId38"/>
    <p:sldLayoutId id="2147485222" r:id="rId39"/>
    <p:sldLayoutId id="2147485223" r:id="rId40"/>
    <p:sldLayoutId id="2147485224" r:id="rId41"/>
    <p:sldLayoutId id="2147485225" r:id="rId42"/>
    <p:sldLayoutId id="2147485226" r:id="rId43"/>
    <p:sldLayoutId id="2147485227" r:id="rId44"/>
    <p:sldLayoutId id="2147485228" r:id="rId45"/>
    <p:sldLayoutId id="2147485229" r:id="rId46"/>
    <p:sldLayoutId id="2147485230" r:id="rId47"/>
    <p:sldLayoutId id="2147485231" r:id="rId48"/>
    <p:sldLayoutId id="2147485232" r:id="rId49"/>
    <p:sldLayoutId id="2147485233" r:id="rId50"/>
    <p:sldLayoutId id="2147485234" r:id="rId51"/>
    <p:sldLayoutId id="2147485235" r:id="rId52"/>
    <p:sldLayoutId id="2147485236" r:id="rId53"/>
    <p:sldLayoutId id="2147485237" r:id="rId54"/>
    <p:sldLayoutId id="2147485238" r:id="rId55"/>
    <p:sldLayoutId id="2147485239" r:id="rId56"/>
    <p:sldLayoutId id="2147485240" r:id="rId57"/>
    <p:sldLayoutId id="2147485241" r:id="rId58"/>
    <p:sldLayoutId id="2147485242" r:id="rId59"/>
    <p:sldLayoutId id="2147485243" r:id="rId60"/>
    <p:sldLayoutId id="2147485244" r:id="rId61"/>
    <p:sldLayoutId id="2147485245" r:id="rId62"/>
    <p:sldLayoutId id="2147485246" r:id="rId63"/>
    <p:sldLayoutId id="2147485247" r:id="rId64"/>
    <p:sldLayoutId id="2147485248" r:id="rId65"/>
    <p:sldLayoutId id="2147485249" r:id="rId66"/>
    <p:sldLayoutId id="2147485250" r:id="rId67"/>
    <p:sldLayoutId id="2147485251" r:id="rId68"/>
    <p:sldLayoutId id="2147485252" r:id="rId69"/>
    <p:sldLayoutId id="2147485253" r:id="rId70"/>
    <p:sldLayoutId id="2147485254" r:id="rId71"/>
    <p:sldLayoutId id="2147485255" r:id="rId72"/>
    <p:sldLayoutId id="2147485256" r:id="rId73"/>
    <p:sldLayoutId id="2147485257" r:id="rId74"/>
    <p:sldLayoutId id="2147485258" r:id="rId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dc.gov/coronavirus/2019-ncov/need-extra-precautions/people-with-medical-%20conditions.html." TargetMode="Externa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gencov.com/hcp/resources/faq" TargetMode="External"/><Relationship Id="rId2" Type="http://schemas.openxmlformats.org/officeDocument/2006/relationships/hyperlink" Target="https://www.regencov.com/" TargetMode="Externa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esk with stethoscope and computer keyboard">
            <a:extLst>
              <a:ext uri="{FF2B5EF4-FFF2-40B4-BE49-F238E27FC236}">
                <a16:creationId xmlns:a16="http://schemas.microsoft.com/office/drawing/2014/main" id="{42EB85EA-A081-4976-8EC6-3AB799CB23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628" r="-1" b="-1"/>
          <a:stretch/>
        </p:blipFill>
        <p:spPr>
          <a:xfrm>
            <a:off x="6092021" y="10"/>
            <a:ext cx="6099977" cy="6857990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D03E9E5-917D-8A4A-8917-12E44F470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478" y="1785600"/>
            <a:ext cx="4729922" cy="3286800"/>
          </a:xfrm>
        </p:spPr>
        <p:txBody>
          <a:bodyPr wrap="square" anchor="ctr">
            <a:normAutofit/>
          </a:bodyPr>
          <a:lstStyle/>
          <a:p>
            <a:r>
              <a:rPr lang="en-US" sz="3700" b="1"/>
              <a:t>EMERGENCY USE AUTHORIZATION (EUA) OF REGEN-COVTM (casirivimab and imdevimab) </a:t>
            </a:r>
            <a:br>
              <a:rPr lang="en-US" sz="3700"/>
            </a:br>
            <a:endParaRPr lang="en-US" sz="37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FD0EC6-05B4-4D48-A9AA-DCC472E65422}"/>
              </a:ext>
            </a:extLst>
          </p:cNvPr>
          <p:cNvSpPr txBox="1"/>
          <p:nvPr/>
        </p:nvSpPr>
        <p:spPr>
          <a:xfrm>
            <a:off x="1349829" y="1534886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57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685558-7921-814A-959E-EFB7401156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0076" y="1973013"/>
            <a:ext cx="8599346" cy="408913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r the treatment of mild to moderate COVID-19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In adult and pediatric patients (12 years of age and older weighing at least 40 kg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With positive results of direct SARS-CoV-2 viral testing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And who are at high risk for progression to severe COVID-19, including hospitalization or death. 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D1645E-3423-3F49-989D-F93E587F8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76" y="1038784"/>
            <a:ext cx="10880266" cy="470898"/>
          </a:xfrm>
        </p:spPr>
        <p:txBody>
          <a:bodyPr/>
          <a:lstStyle/>
          <a:p>
            <a:r>
              <a:rPr lang="en-US" b="1" dirty="0"/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val="375780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1223A4-6FC2-4A42-9C5E-1E655E6862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5501" y="1213268"/>
            <a:ext cx="9096266" cy="3853682"/>
          </a:xfrm>
        </p:spPr>
        <p:txBody>
          <a:bodyPr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latin typeface="Arial" panose="020B0604020202020204" pitchFamily="34" charset="0"/>
              </a:rPr>
              <a:t> </a:t>
            </a:r>
            <a:endParaRPr lang="en-US" altLang="en-US" sz="3200" dirty="0">
              <a:latin typeface="Arial" panose="020B0604020202020204" pitchFamily="34" charset="0"/>
            </a:endParaRP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Older age (for example, age ≥65 years of age)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Obesity or being overweight (BMI &gt;25 kg/m2, or if age 12-17, BMI ≥85th percentile)</a:t>
            </a:r>
          </a:p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Pregnancy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hronic kidney disease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Diabetes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Immunosuppressive disease or immunosuppressive treatment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ardiovascular disease (including congenital heart disease) or hypertension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Chronic lung diseases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Sickle cell disease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Neurodevelopmental disorders (e.g., cerebral palsy) or other conditions that confer medical complexity (e.g., genetic/metabolic syndromes and severe congenital anomalies) </a:t>
            </a:r>
          </a:p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dirty="0"/>
              <a:t>Having a medical-related technological dependence (e.g., tracheostomy, gastrostomy, or positive pressure ventilation (not related to COVID-19))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9E6EEB-1DA6-1A4C-9346-C765EEB00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500" y="742370"/>
            <a:ext cx="8054428" cy="470898"/>
          </a:xfrm>
        </p:spPr>
        <p:txBody>
          <a:bodyPr/>
          <a:lstStyle/>
          <a:p>
            <a:r>
              <a:rPr lang="en-US" b="1" dirty="0"/>
              <a:t>Criteria for Identifying High Risk Individuals </a:t>
            </a:r>
            <a:endParaRPr lang="en-US" dirty="0"/>
          </a:p>
        </p:txBody>
      </p:sp>
      <p:pic>
        <p:nvPicPr>
          <p:cNvPr id="1034" name="Picture 10" descr="page3image468776000">
            <a:extLst>
              <a:ext uri="{FF2B5EF4-FFF2-40B4-BE49-F238E27FC236}">
                <a16:creationId xmlns:a16="http://schemas.microsoft.com/office/drawing/2014/main" id="{B9A1C63B-0879-784A-8E96-9A3101B21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-1782763"/>
            <a:ext cx="6985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age3image468776288">
            <a:extLst>
              <a:ext uri="{FF2B5EF4-FFF2-40B4-BE49-F238E27FC236}">
                <a16:creationId xmlns:a16="http://schemas.microsoft.com/office/drawing/2014/main" id="{5ED25ED8-A67B-B945-85F8-D62E03950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0" y="-1782763"/>
            <a:ext cx="17653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age3image468776576">
            <a:extLst>
              <a:ext uri="{FF2B5EF4-FFF2-40B4-BE49-F238E27FC236}">
                <a16:creationId xmlns:a16="http://schemas.microsoft.com/office/drawing/2014/main" id="{850190A3-BE05-C94A-B715-10B938ACF2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0" y="-1782763"/>
            <a:ext cx="29845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020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52E740-E452-1D42-9F17-1E7F7DD8CC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9714" y="1216268"/>
            <a:ext cx="10077492" cy="4089131"/>
          </a:xfrm>
        </p:spPr>
        <p:txBody>
          <a:bodyPr/>
          <a:lstStyle/>
          <a:p>
            <a:r>
              <a:rPr lang="en-US" sz="2400" dirty="0"/>
              <a:t>REGEN-COV is not authorized for use in patients:</a:t>
            </a:r>
          </a:p>
          <a:p>
            <a:endParaRPr lang="en-US" sz="2400" dirty="0"/>
          </a:p>
          <a:p>
            <a:pPr marL="347472" lvl="1" indent="-347472"/>
            <a:r>
              <a:rPr lang="en-US" sz="2400" dirty="0"/>
              <a:t>Hospitalized due to COVID-19, OR</a:t>
            </a:r>
          </a:p>
          <a:p>
            <a:pPr marL="347472" lvl="1" indent="-347472"/>
            <a:r>
              <a:rPr lang="en-US" sz="2400" dirty="0"/>
              <a:t>Requiring oxygen therapy due to COVID-19, OR</a:t>
            </a:r>
          </a:p>
          <a:p>
            <a:pPr marL="347472" lvl="1" indent="-347472"/>
            <a:r>
              <a:rPr lang="en-US" sz="2400" dirty="0"/>
              <a:t>Requiring an increase in baseline oxygen flow rate due to COVID-19 for those on chronic oxygen therapy due to underlying non-COVID-19 related comorbidity</a:t>
            </a:r>
          </a:p>
          <a:p>
            <a:pPr marL="111600" lvl="1" indent="0">
              <a:buNone/>
            </a:pPr>
            <a:endParaRPr lang="en-US" sz="2400" dirty="0"/>
          </a:p>
          <a:p>
            <a:r>
              <a:rPr lang="en-US" sz="2400" dirty="0"/>
              <a:t>Monoclonal antibodies, such as REGEN-COV, may be associated with worse clinical outcomes when administered to hospitalized patients with COVID-19 who require high-flow oxygen or mechanical ventilation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76D0A8-2256-DE41-A7C5-A66DB450D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714" y="274472"/>
            <a:ext cx="10923809" cy="941796"/>
          </a:xfrm>
        </p:spPr>
        <p:txBody>
          <a:bodyPr/>
          <a:lstStyle/>
          <a:p>
            <a:r>
              <a:rPr lang="en-US" b="1" dirty="0"/>
              <a:t>Limitations of Authorized Use (Treatmen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57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89E0A6-F1DD-BE49-817E-DF3291CA13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5016" y="1542418"/>
            <a:ext cx="9896046" cy="4089131"/>
          </a:xfrm>
        </p:spPr>
        <p:txBody>
          <a:bodyPr/>
          <a:lstStyle/>
          <a:p>
            <a:pPr>
              <a:buNone/>
            </a:pPr>
            <a:endParaRPr lang="en-US" alt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dirty="0"/>
              <a:t>Authorization of REGEN-COV under the EUA is not limited to the medical conditions or factors listed abov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dirty="0"/>
              <a:t>Other medical conditions or factors (e.g., race or ethnicity) may also place individual patients at high risk for progression to severe COVID-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dirty="0"/>
              <a:t>For additional information on medical conditions and factors associated with increased risk for progression to severe COVID, see the </a:t>
            </a:r>
            <a:r>
              <a:rPr lang="en-US" altLang="en-US" sz="2400" dirty="0">
                <a:hlinkClick r:id="rId2"/>
              </a:rPr>
              <a:t>CDC website</a:t>
            </a:r>
            <a:r>
              <a:rPr lang="en-US" altLang="en-US" sz="24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 dirty="0"/>
              <a:t>Healthcare providers should consider the benefit-risk for an individual patient.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14220E-D456-A245-B236-F7232D4AD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016" y="602258"/>
            <a:ext cx="11615045" cy="470898"/>
          </a:xfrm>
        </p:spPr>
        <p:txBody>
          <a:bodyPr/>
          <a:lstStyle/>
          <a:p>
            <a:r>
              <a:rPr lang="en-US" b="1" dirty="0"/>
              <a:t>Limitations of Authorized Use (Treatmen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69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EB1488-AAA5-0D41-8109-14D29F3D64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3890" y="1229688"/>
            <a:ext cx="9717218" cy="524144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r post-exposure prophylaxis of COVID-19  in adult and pediatric individuals (12 years of age and older weighing at least 40 kg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Who are at high risk for progression to severe COVID-19, including hospitalization or death, and are: </a:t>
            </a:r>
          </a:p>
          <a:p>
            <a:pPr lvl="2"/>
            <a:r>
              <a:rPr lang="en-US" sz="2400" dirty="0"/>
              <a:t>Not fully vaccinated, </a:t>
            </a:r>
            <a:r>
              <a:rPr lang="en-US" sz="2400" b="1" dirty="0"/>
              <a:t>or </a:t>
            </a:r>
          </a:p>
          <a:p>
            <a:pPr lvl="2"/>
            <a:r>
              <a:rPr lang="en-US" sz="2400" dirty="0"/>
              <a:t>Not expected to mount an adequate immune response to complete SARS-CoV-2 vaccination (e.g., individuals with immunocompromising conditions including those taking immunosuppressive medications), </a:t>
            </a:r>
            <a:r>
              <a:rPr lang="en-US" sz="2400" b="1" dirty="0"/>
              <a:t>and </a:t>
            </a:r>
          </a:p>
          <a:p>
            <a:pPr lvl="2"/>
            <a:r>
              <a:rPr lang="en-US" sz="2400" dirty="0"/>
              <a:t>Have been exposed to an individual infected with SARS-CoV-2 (consistent with close contact criteria per CDC), </a:t>
            </a:r>
            <a:r>
              <a:rPr lang="en-US" sz="2400" b="1" dirty="0"/>
              <a:t>or </a:t>
            </a:r>
          </a:p>
          <a:p>
            <a:pPr lvl="2"/>
            <a:r>
              <a:rPr lang="en-US" sz="2400" dirty="0"/>
              <a:t>Are at high risk of exposure to an individual infected with SARS- CoV-2 because of occurrence of SARS-CoV-2 infection in others in the same institutional setting </a:t>
            </a:r>
            <a:r>
              <a:rPr lang="en-US" sz="2400" b="1" dirty="0"/>
              <a:t>(</a:t>
            </a:r>
            <a:r>
              <a:rPr lang="en-US" sz="2400" b="1" dirty="0" err="1"/>
              <a:t>e.g</a:t>
            </a:r>
            <a:r>
              <a:rPr lang="en-US" sz="2400" b="1" dirty="0"/>
              <a:t>, nursing homes)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FB2AF3-4876-DB43-8579-1EBA9EFF6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890" y="583120"/>
            <a:ext cx="10999633" cy="470898"/>
          </a:xfrm>
        </p:spPr>
        <p:txBody>
          <a:bodyPr/>
          <a:lstStyle/>
          <a:p>
            <a:r>
              <a:rPr lang="en-US" b="1" dirty="0"/>
              <a:t>POST-EXPOSURE PROPHYLAXI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5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D0B83E-E4C3-4746-8363-7B09D15058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6744" y="1518069"/>
            <a:ext cx="8986346" cy="4935283"/>
          </a:xfrm>
        </p:spPr>
        <p:txBody>
          <a:bodyPr/>
          <a:lstStyle/>
          <a:p>
            <a:pPr>
              <a:buNone/>
            </a:pPr>
            <a:r>
              <a:rPr lang="en-US" dirty="0"/>
              <a:t>People with moderate to severe immune compromise due to a medical condition or use of immunosuppressive medications/treatments, </a:t>
            </a:r>
            <a:r>
              <a:rPr lang="en-US" b="1" dirty="0"/>
              <a:t>including but are not limited to:</a:t>
            </a:r>
          </a:p>
          <a:p>
            <a:pPr>
              <a:buNone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tive treatment for solid tumor and hematologic malignanc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ceipt of solid-organ transplant and taking immunosuppressive therap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ceipt of chimeric antigen receptor (CAR) T-cell or hematopoietic stem cell transplant (within 2 years of transplantation or taking immunosuppression therap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derate or severe primary immunodeficien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vanced or untreated HIV infec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tive treatment with: </a:t>
            </a:r>
          </a:p>
          <a:p>
            <a:pPr marL="627300" lvl="1" indent="-342900"/>
            <a:r>
              <a:rPr lang="en-US" dirty="0"/>
              <a:t>high-dose corticosteroids (i.e., ≥20mg prednisone or equivalent per day when administered for ≥2 weeks), or</a:t>
            </a:r>
          </a:p>
          <a:p>
            <a:pPr marL="627300" lvl="1" indent="-342900"/>
            <a:r>
              <a:rPr lang="en-US" dirty="0"/>
              <a:t>alkylating agents, antimetabolites, transplant-related immunosuppressive drugs, cancer chemotherapeutic agents classified as severely immunosuppressive, tumor-necrosis (TNF) blockers, and other biologic agents that are immunosuppressive or immunomodulatory.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C7B2F5-AF04-D047-820D-3629F5197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744" y="667203"/>
            <a:ext cx="11615045" cy="470898"/>
          </a:xfrm>
        </p:spPr>
        <p:txBody>
          <a:bodyPr/>
          <a:lstStyle/>
          <a:p>
            <a:r>
              <a:rPr lang="en-US" b="1" dirty="0"/>
              <a:t>Reduced Antibody Response</a:t>
            </a:r>
          </a:p>
        </p:txBody>
      </p:sp>
    </p:spTree>
    <p:extLst>
      <p:ext uri="{BB962C8B-B14F-4D97-AF65-F5344CB8AC3E}">
        <p14:creationId xmlns:p14="http://schemas.microsoft.com/office/powerpoint/2010/main" val="215037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97890B-F33D-6B4D-8CD1-67765A7B54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5829" y="1773317"/>
            <a:ext cx="8887053" cy="4089131"/>
          </a:xfrm>
        </p:spPr>
        <p:txBody>
          <a:bodyPr/>
          <a:lstStyle/>
          <a:p>
            <a:pPr lvl="1"/>
            <a:r>
              <a:rPr lang="en-US" sz="2400" dirty="0"/>
              <a:t>Post-exposure prophylaxis with REGEN-COV (</a:t>
            </a:r>
            <a:r>
              <a:rPr lang="en-US" sz="2400" dirty="0" err="1"/>
              <a:t>casirivimab</a:t>
            </a:r>
            <a:r>
              <a:rPr lang="en-US" sz="2400" dirty="0"/>
              <a:t> and </a:t>
            </a:r>
            <a:r>
              <a:rPr lang="en-US" sz="2400" dirty="0" err="1"/>
              <a:t>imdevimab</a:t>
            </a:r>
            <a:r>
              <a:rPr lang="en-US" sz="2400" dirty="0"/>
              <a:t>) is not a substitute for vaccination against COVID-19. </a:t>
            </a:r>
          </a:p>
          <a:p>
            <a:pPr lvl="1"/>
            <a:r>
              <a:rPr lang="en-US" sz="2400" dirty="0"/>
              <a:t>REGEN-COV (</a:t>
            </a:r>
            <a:r>
              <a:rPr lang="en-US" sz="2400" dirty="0" err="1"/>
              <a:t>casirivimab</a:t>
            </a:r>
            <a:r>
              <a:rPr lang="en-US" sz="2400" dirty="0"/>
              <a:t> and </a:t>
            </a:r>
            <a:r>
              <a:rPr lang="en-US" sz="2400" dirty="0" err="1"/>
              <a:t>imdevimab</a:t>
            </a:r>
            <a:r>
              <a:rPr lang="en-US" sz="2400" dirty="0"/>
              <a:t>) is not authorized for pre-exposure prophylaxis for prevention of COVID-19. 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For complete information: </a:t>
            </a:r>
            <a:r>
              <a:rPr lang="en-US" sz="2400" dirty="0">
                <a:hlinkClick r:id="rId2"/>
              </a:rPr>
              <a:t>https://www.regencov.com</a:t>
            </a:r>
            <a:endParaRPr lang="en-US" sz="2400" dirty="0"/>
          </a:p>
          <a:p>
            <a:pPr lvl="1"/>
            <a:r>
              <a:rPr lang="en-US" sz="2400" dirty="0"/>
              <a:t>For information about procurement:  </a:t>
            </a:r>
            <a:r>
              <a:rPr lang="en-US" sz="2400" dirty="0">
                <a:hlinkClick r:id="rId3"/>
              </a:rPr>
              <a:t>https://www.regencov.com/hcp/resources/faq</a:t>
            </a:r>
            <a:endParaRPr lang="en-US" sz="2400" dirty="0"/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BD674C-F10C-7A49-8D5D-C0033338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422" y="803837"/>
            <a:ext cx="11615045" cy="470898"/>
          </a:xfrm>
        </p:spPr>
        <p:txBody>
          <a:bodyPr/>
          <a:lstStyle/>
          <a:p>
            <a:r>
              <a:rPr lang="en-US" b="1" dirty="0"/>
              <a:t>Limitations of Authorized Use (PEP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6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3wQKW8nz"/>
  <p:tag name="EE4P_STYLE_NAME" val="Kansas Grid 16: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.VGQMwELzBTj3NJQis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tpA3KcBZoNrwUiKpP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52i6slvNkJoliNZj3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WujoTo5KRDV_PYLVW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2KpoBbMt.HOprmXxX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uHBGbibgvvpK56Saq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tGJTaiOQYTLQvSWNW.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gzG8tzl.5s9x.ukGc8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YOSat1MeR7nqf8VT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qjbmFrwstuyWHp6H4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UQDOC6Ao7Sow105Ol3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WXnQsumT5xRDWykfI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x9pxFA6RFIQXSgs63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4eX2IVgh9oMdV63oJ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xYT1NKey64BpdlkCm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.aGgjjOayUIF_217E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wB2sP4aGOBqSbHlpd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yH.YODIdUaFE_ypUk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8NjCCV._XNC28edWX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6yHtamVO8l_Mk5E4O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Qn1QySpJER3FoGPwT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xgc391lKxCoMhEowX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weUEfPVFHCG1NIbho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XV2Gg7HWc1kF6VUIy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j8iDa6.EPrde9aqA_U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8MGKdlZBjRILQpEcR.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HE04CUH2aP_KLSgW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p4PH2oOgt3.9qQuDh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Es1Q1KuVmUuDggIiI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9Wzck3pp2Xq2FiC2Q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0xmVml4Ulf5z4xbC5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590Gwza1Nv1hEYFfA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M.DkrTwpHbUXYlqko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32GJPz6SGE5LwXAyz1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XeWISotczCENkf35RB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0PrXw0BriN9712EXo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ECzuHwnfLX.UUQVFL4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ul12loz.kszXsLyZM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RhrOeyvSHt6gM.mllnQ"/>
</p:tagLst>
</file>

<file path=ppt/theme/theme1.xml><?xml version="1.0" encoding="utf-8"?>
<a:theme xmlns:a="http://schemas.openxmlformats.org/drawingml/2006/main" name="Kansas Grid 16:9 - 12912">
  <a:themeElements>
    <a:clrScheme name="Grid based thme color">
      <a:dk1>
        <a:sysClr val="windowText" lastClr="000000"/>
      </a:dk1>
      <a:lt1>
        <a:sysClr val="window" lastClr="FFFFFF"/>
      </a:lt1>
      <a:dk2>
        <a:srgbClr val="051934"/>
      </a:dk2>
      <a:lt2>
        <a:srgbClr val="F2F2F2"/>
      </a:lt2>
      <a:accent1>
        <a:srgbClr val="082A58"/>
      </a:accent1>
      <a:accent2>
        <a:srgbClr val="0A3774"/>
      </a:accent2>
      <a:accent3>
        <a:srgbClr val="EDAE1D"/>
      </a:accent3>
      <a:accent4>
        <a:srgbClr val="2B7EED"/>
      </a:accent4>
      <a:accent5>
        <a:srgbClr val="ADADAD"/>
      </a:accent5>
      <a:accent6>
        <a:srgbClr val="D16656"/>
      </a:accent6>
      <a:hlink>
        <a:srgbClr val="F06E02"/>
      </a:hlink>
      <a:folHlink>
        <a:srgbClr val="FEA35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xxx" id="{68A82696-83F9-41F8-97AB-2419ECB0BA7C}" vid="{A7515B15-C783-4D74-9968-DEEAD6A72523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4</TotalTime>
  <Words>700</Words>
  <Application>Microsoft Office PowerPoint</Application>
  <PresentationFormat>Widescreen</PresentationFormat>
  <Paragraphs>60</Paragraphs>
  <Slides>8</Slides>
  <Notes>0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5" baseType="lpstr">
      <vt:lpstr>Arial</vt:lpstr>
      <vt:lpstr>Calibri</vt:lpstr>
      <vt:lpstr>Cambria</vt:lpstr>
      <vt:lpstr>Trebuchet MS</vt:lpstr>
      <vt:lpstr>Kansas Grid 16:9 - 12912</vt:lpstr>
      <vt:lpstr>think-cell Slide</vt:lpstr>
      <vt:lpstr>EMERGENCY USE AUTHORIZATION (EUA) OF REGEN-COVTM (casirivimab and imdevimab)  </vt:lpstr>
      <vt:lpstr>TREATMENT</vt:lpstr>
      <vt:lpstr>Criteria for Identifying High Risk Individuals </vt:lpstr>
      <vt:lpstr>Limitations of Authorized Use (Treatment) </vt:lpstr>
      <vt:lpstr>Limitations of Authorized Use (Treatment)</vt:lpstr>
      <vt:lpstr>POST-EXPOSURE PROPHYLAXIS</vt:lpstr>
      <vt:lpstr>Reduced Antibody Response</vt:lpstr>
      <vt:lpstr>Limitations of Authorized Use (PEP) 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Debra Zehr</cp:lastModifiedBy>
  <cp:revision>468</cp:revision>
  <cp:lastPrinted>2000-01-01T07:00:00Z</cp:lastPrinted>
  <dcterms:created xsi:type="dcterms:W3CDTF">2021-08-30T19:15:11Z</dcterms:created>
  <dcterms:modified xsi:type="dcterms:W3CDTF">2021-09-10T18:3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1-08-30T19:18:0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a31899c8-d1fd-4a61-bdb7-3705887b3320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bcgClassification">
    <vt:lpwstr>bcgConfidential</vt:lpwstr>
  </property>
</Properties>
</file>